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0" r:id="rId3"/>
    <p:sldId id="261" r:id="rId4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ΧΡΙΣΤΙΝΑ ΚΑΤΩΠΟΔΗ" initials="ΧΚ" lastIdx="0" clrIdx="0">
    <p:extLst>
      <p:ext uri="{19B8F6BF-5375-455C-9EA6-DF929625EA0E}">
        <p15:presenceInfo xmlns:p15="http://schemas.microsoft.com/office/powerpoint/2012/main" userId="S-1-5-21-2499576525-2853240682-2746563143-758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318" autoAdjust="0"/>
  </p:normalViewPr>
  <p:slideViewPr>
    <p:cSldViewPr snapToGrid="0">
      <p:cViewPr varScale="1">
        <p:scale>
          <a:sx n="109" d="100"/>
          <a:sy n="109" d="100"/>
        </p:scale>
        <p:origin x="6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/>
              <a:t>Στυλ κύριου υπότιτλ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99557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71694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55772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61141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25406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61852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κειμένου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64820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66814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3" name="Θέση υποσέλιδου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7173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4705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11719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42824E-7490-4627-A16B-8FE99F923A30}" type="datetimeFigureOut">
              <a:rPr lang="el-GR" smtClean="0"/>
              <a:t>8/10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05976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77D6B2E-37A3-429E-A37C-F30ED64872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1722" y="0"/>
            <a:ext cx="12225952" cy="6868071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41960" y="-3"/>
            <a:ext cx="11772269" cy="6868074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83000"/>
                </a:schemeClr>
              </a:gs>
              <a:gs pos="100000">
                <a:schemeClr val="accent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5200" y="0"/>
            <a:ext cx="3623374" cy="68680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64D5D5-227B-4F66-9AEA-46F570E793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5874" y="-3"/>
            <a:ext cx="12233581" cy="6868076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73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46B67A4-D328-4747-A82B-65E84FA46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4484335" y="-861824"/>
            <a:ext cx="6861931" cy="8597859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27000"/>
                </a:srgb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993193">
            <a:off x="1186973" y="1089049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6000"/>
                </a:schemeClr>
              </a:gs>
              <a:gs pos="85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62567" y="818985"/>
            <a:ext cx="6714699" cy="317868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4400" b="1" dirty="0">
                <a:solidFill>
                  <a:srgbClr val="FFFFFF"/>
                </a:solidFill>
                <a:latin typeface="+mn-lt"/>
              </a:rPr>
              <a:t>Ρυθμίσεις Δανείων Χρηματοδοτικών Φορέων</a:t>
            </a:r>
            <a:r>
              <a:rPr lang="el-GR" sz="240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US" sz="4400" b="1" dirty="0">
                <a:solidFill>
                  <a:srgbClr val="FF0000"/>
                </a:solidFill>
                <a:latin typeface="+mn-lt"/>
              </a:rPr>
            </a:br>
            <a:r>
              <a:rPr lang="el-GR" sz="3600" b="1" dirty="0">
                <a:solidFill>
                  <a:schemeClr val="bg1"/>
                </a:solidFill>
                <a:latin typeface="+mn-lt"/>
              </a:rPr>
              <a:t>0</a:t>
            </a:r>
            <a:r>
              <a:rPr lang="en-US" sz="3600" b="1" dirty="0">
                <a:solidFill>
                  <a:schemeClr val="bg1"/>
                </a:solidFill>
                <a:latin typeface="+mn-lt"/>
              </a:rPr>
              <a:t>6.10.202</a:t>
            </a:r>
            <a:r>
              <a:rPr lang="el-GR" sz="3600" b="1" dirty="0">
                <a:solidFill>
                  <a:schemeClr val="bg1"/>
                </a:solidFill>
                <a:latin typeface="+mn-lt"/>
              </a:rPr>
              <a:t>5</a:t>
            </a:r>
            <a:endParaRPr lang="en-US" sz="3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4490110"/>
            <a:ext cx="12217710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85398" y="4810519"/>
            <a:ext cx="7055893" cy="1228496"/>
          </a:xfrm>
        </p:spPr>
        <p:txBody>
          <a:bodyPr>
            <a:normAutofit fontScale="85000" lnSpcReduction="20000"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Γενική Γραμματεία Χρηματοπιστωτικού Τομέα και Διαχείρισης Ιδιωτικού Χρέους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Υπουργείο Εθνικής Οικονομίας και Οικονομικών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Ελληνική Δημοκρατία</a:t>
            </a:r>
            <a:br>
              <a:rPr lang="en-US" sz="1800" dirty="0">
                <a:solidFill>
                  <a:srgbClr val="FFFFFF"/>
                </a:solidFill>
                <a:latin typeface="+mn-lt"/>
              </a:rPr>
            </a:br>
            <a:endParaRPr lang="el-GR" sz="18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E0FA27-7B81-4A55-864F-C6D09564FD1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0543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2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5938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Από τα €</a:t>
            </a:r>
            <a:r>
              <a:rPr lang="en-US" dirty="0"/>
              <a:t>7</a:t>
            </a:r>
            <a:r>
              <a:rPr lang="el-GR" dirty="0"/>
              <a:t>9,4</a:t>
            </a:r>
            <a:r>
              <a:rPr lang="en-US" dirty="0"/>
              <a:t> </a:t>
            </a:r>
            <a:r>
              <a:rPr lang="el-GR" dirty="0"/>
              <a:t>δις ΜΕΑ που βρίσκονται στους </a:t>
            </a:r>
            <a:r>
              <a:rPr lang="en-US" dirty="0"/>
              <a:t>Servicers </a:t>
            </a:r>
            <a:r>
              <a:rPr lang="el-GR" dirty="0"/>
              <a:t>οι 4 κατέχουν σχεδόν το 90%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…και τους αντιστοιχούν ρυθμίσεις ύψους €190,22 εκ. με 3.144 οφειλέτες για τον Αύγουστο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213860" y="6569287"/>
            <a:ext cx="71928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900" i="1" dirty="0"/>
              <a:t>Σημείωση</a:t>
            </a:r>
            <a:r>
              <a:rPr lang="en-US" sz="900" i="1" dirty="0"/>
              <a:t>: </a:t>
            </a:r>
            <a:r>
              <a:rPr lang="el-GR" sz="900" i="1" dirty="0"/>
              <a:t>Τα γραφήματα στηλών δείχνουν την «παραγωγή» ρυθμίσεων εντός του μήνα αναφοράς σε όρους συνολικού ποσού ανάκτησης </a:t>
            </a:r>
          </a:p>
        </p:txBody>
      </p:sp>
      <p:sp>
        <p:nvSpPr>
          <p:cNvPr id="17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>
                <a:solidFill>
                  <a:srgbClr val="FFFFFF"/>
                </a:solidFill>
                <a:latin typeface="+mn-lt"/>
              </a:rPr>
              <a:t> (Ι)</a:t>
            </a:r>
            <a:br>
              <a:rPr lang="el-GR" sz="4000" b="1" dirty="0">
                <a:solidFill>
                  <a:srgbClr val="FFFFFF"/>
                </a:solidFill>
                <a:latin typeface="+mn-lt"/>
              </a:rPr>
            </a:br>
            <a:r>
              <a:rPr lang="el-GR" sz="1400" b="1" dirty="0">
                <a:solidFill>
                  <a:srgbClr val="FFFFFF"/>
                </a:solidFill>
                <a:latin typeface="+mn-lt"/>
              </a:rPr>
              <a:t>(στοιχεία Αυγ 2025)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BF5345C2-0D5E-4EE8-A2A2-D7C820EA1A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5055" y="1056706"/>
            <a:ext cx="4616195" cy="2591351"/>
          </a:xfrm>
          <a:prstGeom prst="rect">
            <a:avLst/>
          </a:prstGeom>
        </p:spPr>
      </p:pic>
      <p:pic>
        <p:nvPicPr>
          <p:cNvPr id="2" name="Εικόνα 1">
            <a:extLst>
              <a:ext uri="{FF2B5EF4-FFF2-40B4-BE49-F238E27FC236}">
                <a16:creationId xmlns:a16="http://schemas.microsoft.com/office/drawing/2014/main" id="{ED395235-8BE2-4C8C-BB83-4103C9C3E0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4143" y="3853779"/>
            <a:ext cx="8999480" cy="2609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635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3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3511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Το 54% των ρυθμίσεων (σε ποσά</a:t>
            </a:r>
            <a:r>
              <a:rPr lang="en-US" dirty="0"/>
              <a:t>) </a:t>
            </a:r>
            <a:r>
              <a:rPr lang="el-GR" dirty="0"/>
              <a:t>αφορά οφειλές στεγαστικών δανείων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Στεγαστικά στην πλειοψηφία για </a:t>
            </a:r>
            <a:r>
              <a:rPr lang="en-US" dirty="0" err="1"/>
              <a:t>Cepal</a:t>
            </a:r>
            <a:r>
              <a:rPr lang="el-GR" dirty="0"/>
              <a:t>, </a:t>
            </a:r>
            <a:r>
              <a:rPr lang="en-US" dirty="0" err="1"/>
              <a:t>DoValue</a:t>
            </a:r>
            <a:r>
              <a:rPr lang="en-US" dirty="0"/>
              <a:t> </a:t>
            </a:r>
            <a:endParaRPr lang="el-GR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Καταναλωτικά για </a:t>
            </a:r>
            <a:r>
              <a:rPr lang="en-US" dirty="0" err="1"/>
              <a:t>Intrum</a:t>
            </a:r>
            <a:endParaRPr lang="el-GR" dirty="0"/>
          </a:p>
        </p:txBody>
      </p:sp>
      <p:sp>
        <p:nvSpPr>
          <p:cNvPr id="16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>
                <a:solidFill>
                  <a:srgbClr val="FFFFFF"/>
                </a:solidFill>
                <a:latin typeface="+mn-lt"/>
              </a:rPr>
              <a:t> (ΙΙ)</a:t>
            </a:r>
            <a:br>
              <a:rPr lang="el-GR" sz="4000" b="1" dirty="0">
                <a:solidFill>
                  <a:srgbClr val="FFFFFF"/>
                </a:solidFill>
                <a:latin typeface="+mn-lt"/>
              </a:rPr>
            </a:br>
            <a:r>
              <a:rPr lang="el-GR" sz="1400" b="1" dirty="0">
                <a:solidFill>
                  <a:srgbClr val="FFFFFF"/>
                </a:solidFill>
                <a:latin typeface="+mn-lt"/>
              </a:rPr>
              <a:t>(στοιχεία Αυγ 2025)</a:t>
            </a:r>
          </a:p>
        </p:txBody>
      </p:sp>
      <p:pic>
        <p:nvPicPr>
          <p:cNvPr id="2" name="Εικόνα 1">
            <a:extLst>
              <a:ext uri="{FF2B5EF4-FFF2-40B4-BE49-F238E27FC236}">
                <a16:creationId xmlns:a16="http://schemas.microsoft.com/office/drawing/2014/main" id="{C1931FDC-77C8-4238-A940-E8135B24AE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4044" y="1250995"/>
            <a:ext cx="9012206" cy="5120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82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8xTmHTBOMdux6p2maSA"/>
</p:tagLst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29</TotalTime>
  <Words>123</Words>
  <Application>Microsoft Office PowerPoint</Application>
  <PresentationFormat>Ευρεία οθόνη</PresentationFormat>
  <Paragraphs>14</Paragraphs>
  <Slides>3</Slides>
  <Notes>0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3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Θέμα του Office</vt:lpstr>
      <vt:lpstr>Ρυθμίσεις Δανείων Χρηματοδοτικών Φορέων  06.10.2025</vt:lpstr>
      <vt:lpstr>Παρουσίαση του PowerPoint</vt:lpstr>
      <vt:lpstr>Παρουσίαση του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ΧΡΙΣΤΙΝΑ ΚΑΤΩΠΟΔΗ</dc:creator>
  <cp:lastModifiedBy>Αιμιλία Ζωγράφου</cp:lastModifiedBy>
  <cp:revision>97</cp:revision>
  <dcterms:created xsi:type="dcterms:W3CDTF">2024-06-03T14:29:32Z</dcterms:created>
  <dcterms:modified xsi:type="dcterms:W3CDTF">2025-10-08T09:22:09Z</dcterms:modified>
</cp:coreProperties>
</file>